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3"/>
  </p:notesMasterIdLst>
  <p:handoutMasterIdLst>
    <p:handoutMasterId r:id="rId14"/>
  </p:handoutMasterIdLst>
  <p:sldIdLst>
    <p:sldId id="311" r:id="rId2"/>
    <p:sldId id="363" r:id="rId3"/>
    <p:sldId id="340" r:id="rId4"/>
    <p:sldId id="366" r:id="rId5"/>
    <p:sldId id="348" r:id="rId6"/>
    <p:sldId id="359" r:id="rId7"/>
    <p:sldId id="362" r:id="rId8"/>
    <p:sldId id="367" r:id="rId9"/>
    <p:sldId id="364" r:id="rId10"/>
    <p:sldId id="351" r:id="rId11"/>
    <p:sldId id="356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10" autoAdjust="0"/>
    <p:restoredTop sz="93571" autoAdjust="0"/>
  </p:normalViewPr>
  <p:slideViewPr>
    <p:cSldViewPr>
      <p:cViewPr>
        <p:scale>
          <a:sx n="90" d="100"/>
          <a:sy n="90" d="100"/>
        </p:scale>
        <p:origin x="-878" y="-5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7" name="Picture 3" descr="C:\git\RoboCap\arduino\wks\A_03_01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36470" y="1412720"/>
            <a:ext cx="7540355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400508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65460" y="400508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Na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203" name="Picture 3" descr="C:\Users\jczas\Downloads\nanopdf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1139460"/>
            <a:ext cx="7308793" cy="516993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97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Eclips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653170"/>
            <a:ext cx="928929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de-DE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de-DE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.baeyens.it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de-DE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de-DE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zupełniani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kładn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2973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64460" y="1183544"/>
            <a:ext cx="7561050" cy="346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instalacja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797190"/>
            <a:ext cx="921728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Nieznane urządzenie</a:t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Aktualizuj oprogramowanie sterownika...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Przeglądaj mój komputer w poszukiwaniu oprogramowania sterownika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48" name="AutoShape 8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0" name="AutoShape 10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52" name="Picture 12" descr="https://gm1.ggpht.com/FdhXnAUyhSqxGcRO8dqjv96EzDpM-bvcoQbqGdj_BOCB0TEezVY9RHEtA4jYnDpgm0-s5z6RSyPUtstLb26-owsjdwUD7ON9tKwJQet8LVZNMFHxs5ESHHyBCsxguzWglvlQU-YjIb0FJ65zo-wVWgMruuPv6oldV9almeruakUPspQNBmHUVnuAp7QqMRxrPBr5VMHjKgj0PywY1IYHaPvDahHw2WP5_3zTxMjsMiWMk4FaloL_9fSgcXVkWVGRy64QQXcDCQBJMEwNBSGFwNCpj8YM7saOSTPT4jkCo8CpAb-RdSTAYRQ8-UNhydMtmOOy7zGXDAtjXoAMMiYr4ekwKo4HjHXVn4-7a8MpP1xRRG37SywC3EarCToZv4qOfA6_iOLCrCj0zXG0ggasVvkbB80SaImd_fiVyQcYkB1Tglstc1qJ1sIFbI4XOWMVi59ENXFEBkGIaLjOZzlbYRggo6-ajcFrvo7ODXbLhIHGaLiNb3Qcx6RlFqmI0ap4tSigMKngjR4R-prD8JQyz0TxldDsi6Bp4BjF1M5lXGe4TotauETssluY3cfLiNsZBG9Hcnw4sGPANxQ7J5xQxAO3fFHkMgEDFCXdqQ=s0-l75-ft-l75-ft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1628750"/>
            <a:ext cx="3571875" cy="2857500"/>
          </a:xfrm>
          <a:prstGeom prst="rect">
            <a:avLst/>
          </a:prstGeom>
          <a:noFill/>
        </p:spPr>
      </p:pic>
      <p:pic>
        <p:nvPicPr>
          <p:cNvPr id="291854" name="Picture 14" descr="https://gm1.ggpht.com/_ge5EMQSVB1xaPILMVSFBWsL762YyTFn26V8PakFS_vSLNTjEJ0CYKmdiJfAVD7K4O6EpOnS4MJmQBgy0Z4RHa1lWltOqrISAKGU9zWvHcsdx8i7rpjwKb_MCSaC3XxnCgXwFpvYmHe4Q25xmhsq_B4E6Feiv1ZtiR_pTkgWSkC-iqJ6mSCuh249amUiKpMpsVsAmhqIJbQ8AXxXIi7C1v1SjwOA_7B2Z-gn5OU2GvK0mdxeOlNUUAxMLcFqNeXvQdwiYHdm97ftqxVbqtgk0ZDVK6kJ3Xok8ISR8z_H_796oEPjN6iLUcLnRtnQMae0nfOGs_-nkzF2rf3IrJMYuaj1jyGMN4C66omw6-I8DavqHWwKZNNuMLbYycOUahOI5VGsnHVpGUrU0RoA-RT0J_BlPlWTD5Um95--Y5boXNcgDsPAJ1GxuMBLt3mdwk_cKXXdNVacoh2VuxvPwtnmkAKZe7MVWlmhyIV_-oiQ_TTQXCskRNUYCTtWdRCI0WTQU65Z5Sdn7Uk5UEvEFAu4egcvRVoEFomLVGBAezbQ7nRfO3dtqYm4CAIO4ix2hiM3iTEBfrBSwi4mZ9n2eGQ2B2ZmNyQWg_p_1jXPng=s0-l75-ft-l75-ft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160890" y="1628750"/>
            <a:ext cx="2468913" cy="2880400"/>
          </a:xfrm>
          <a:prstGeom prst="rect">
            <a:avLst/>
          </a:prstGeom>
          <a:noFill/>
        </p:spPr>
      </p:pic>
      <p:sp>
        <p:nvSpPr>
          <p:cNvPr id="291856" name="AutoShape 16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8" name="AutoShape 18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" name="Picture 20" descr="https://gm1.ggpht.com/y3d0y1PJUZ5ZIvXJAUwLSUBJb3UvkxT0n_7u9qahXamKd2gDcVKcfu8jU0LQy2acj5rCXQHs2vHn9THKoOimSEkYT-hTa7-88bcw1wjjDuf35Gqly3NjX2yTv6H6Abl2pt30bo3z8JkKi59ojZE2JKSViEFlCfwBgqqWWQxVMLLEGjI4-DOiqL2CpZDe6yrMkknwx3PKFb6fP54TKTbdP4njx41jcPKrl9v4vlySA0lOW0U4VlNnIKksjd8DXahoQHLDflvRitecCVOWjFfeGXF11icTC_OicHJfPKsgsgK-Coctpz8kn_IsEf5LZ9_YOA1kpXs1MeC9vPLWh3pg_jksZ3etgm1QbAJz6CgGbFj1IKFtFNoXCBfJ6xXhFuC6BEfW8ZSMJjRM9KI21ETQK6Lj3Y4A1YOngwaGXyTwuviIGNVkgfBIXHXT9ogwWbQbjxhmWbP7_D89HPQteBZatFoLYXL-W2sdjfzWgeyC4c4wJuAr4JcUtmZV7lBUrkShofZjwegPpXhcRiWtuPJPlrePLvxXo_heGKQOpCcp7jNo6TY3OdMBe2fzz5-2bli6eJAczwNfzWK0M8AYrQT8EpQjzrYxgP7NaSyPVA=w1406-h656-l75-f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16524" y="1628750"/>
            <a:ext cx="2817126" cy="288039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17120" y="4443255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6179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097020" y="1412720"/>
            <a:ext cx="4177978" cy="25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07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Eclips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56320" y="1628750"/>
            <a:ext cx="60488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</a:t>
            </a: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Na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de-DE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rt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</a:t>
            </a:r>
            <a:r>
              <a:rPr lang="de-DE" sz="20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yp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cesora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Tmega168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erify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pload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Sketc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84560" y="4468005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496520" y="532260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0755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745110" y="1124680"/>
            <a:ext cx="4066025" cy="25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0756" name="Picture 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21190" y="4653170"/>
            <a:ext cx="281940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409691" y="2274399"/>
            <a:ext cx="187743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zasilania</a:t>
            </a:r>
            <a:endParaRPr lang="en-US" sz="18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659758" y="4578719"/>
            <a:ext cx="2377574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podzespołów</a:t>
            </a:r>
            <a:endParaRPr lang="en-US" sz="18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7</Words>
  <Application>Microsoft Office PowerPoint</Application>
  <PresentationFormat>A4 Paper (210x297 mm)</PresentationFormat>
  <Paragraphs>127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Blank</vt:lpstr>
      <vt:lpstr>think-cell Slide</vt:lpstr>
      <vt:lpstr>Arduino Software (IDE) </vt:lpstr>
      <vt:lpstr>Arduino Nano</vt:lpstr>
      <vt:lpstr>Arduino IDE</vt:lpstr>
      <vt:lpstr>Eclipse Arduino IDE</vt:lpstr>
      <vt:lpstr>Arduino – struktura „main”</vt:lpstr>
      <vt:lpstr>Arduino – instalacja drivera</vt:lpstr>
      <vt:lpstr>Arduino IDE – kompilacja i wgrywanie</vt:lpstr>
      <vt:lpstr>Eclipse Arduino IDE – kompilacja i wgrywanie</vt:lpstr>
      <vt:lpstr>Breadboard – płytka do prototypowania</vt:lpstr>
      <vt:lpstr>Arduino – cyfrowe wyjście</vt:lpstr>
      <vt:lpstr>Arduino – cyfrowe wyjście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597</cp:revision>
  <dcterms:created xsi:type="dcterms:W3CDTF">2014-10-21T19:55:20Z</dcterms:created>
  <dcterms:modified xsi:type="dcterms:W3CDTF">2016-07-01T07:34:56Z</dcterms:modified>
</cp:coreProperties>
</file>